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8"/>
  </p:notesMasterIdLst>
  <p:handoutMasterIdLst>
    <p:handoutMasterId r:id="rId9"/>
  </p:handoutMasterIdLst>
  <p:sldIdLst>
    <p:sldId id="359" r:id="rId2"/>
    <p:sldId id="360" r:id="rId3"/>
    <p:sldId id="363" r:id="rId4"/>
    <p:sldId id="364" r:id="rId5"/>
    <p:sldId id="365" r:id="rId6"/>
    <p:sldId id="366" r:id="rId7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59"/>
            <p14:sldId id="360"/>
            <p14:sldId id="363"/>
            <p14:sldId id="364"/>
            <p14:sldId id="365"/>
            <p14:sldId id="36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77" d="100"/>
          <a:sy n="77" d="100"/>
        </p:scale>
        <p:origin x="-1440" y="-96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570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A3BF2F-6C13-4D0D-9637-9CE78B599739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AFEFEB8-9AAC-4871-90BE-DE2612BFC572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9721423-C073-45B2-8739-8D2FAF261EF2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BB1D7DF-12B3-499E-8C3E-6646A56443B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106A3F7-4752-491F-BF31-8D52553F0EFB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3B1ECF1-ABB5-4F57-BF2B-6128A404875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61206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A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BA2007B-4A87-4BC9-837D-5601C60E1BE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671D8E6-4D9D-485E-90C6-2934B9AA828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C3D53B7-4698-4906-9400-307B6D194C0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037542F-1785-4749-A350-9F81CFBD422B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8892D42-F09F-4E03-9E11-C6101B9D44E9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9238482-D3FB-4587-AE3E-91D35B755573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7058583-0636-4A93-B516-745152B4129B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24FF8E-FA7C-4456-B66B-729B157A0594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6969817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. 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I. UML Refresh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1" dirty="0" smtClean="0"/>
                        <a:t>III. Modellierung &amp; Produktdefinition mit Faktor-IPS</a:t>
                      </a:r>
                      <a:endParaRPr lang="de-DE" sz="1600" b="1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dirty="0" smtClean="0"/>
                        <a:t>IV. Customizing &amp; Tools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65586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E6A98A-1D8B-4D8A-94D5-E5A326CE595C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749620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A Projekt einrich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207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A6A0F58-3248-4E91-9C6E-2510EAD0284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 </a:t>
            </a:r>
            <a:r>
              <a:rPr lang="de-DE" dirty="0" smtClean="0"/>
              <a:t>einrichten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>
              <a:buSzPct val="75000"/>
            </a:pPr>
            <a:r>
              <a:rPr lang="de-DE" dirty="0"/>
              <a:t>Java-Projekt „Hausratmodell“ </a:t>
            </a:r>
            <a:r>
              <a:rPr lang="de-DE" dirty="0" smtClean="0"/>
              <a:t>anlege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/>
              <a:t>Faktor-IPS Nature </a:t>
            </a:r>
            <a:r>
              <a:rPr lang="de-DE" dirty="0" smtClean="0"/>
              <a:t>hinzufügen</a:t>
            </a:r>
          </a:p>
          <a:p>
            <a:pPr lvl="1">
              <a:buSzPct val="75000"/>
            </a:pPr>
            <a:endParaRPr lang="de-DE" dirty="0"/>
          </a:p>
          <a:p>
            <a:pPr lvl="1">
              <a:buSzPct val="75000"/>
            </a:pPr>
            <a:r>
              <a:rPr lang="de-DE" dirty="0" smtClean="0"/>
              <a:t>Projekteinstellungen: Alle unnötigen </a:t>
            </a:r>
            <a:r>
              <a:rPr lang="de-DE" smtClean="0"/>
              <a:t>Generator-Optionen deaktivieren</a:t>
            </a:r>
            <a:endParaRPr lang="de-DE" dirty="0" smtClean="0"/>
          </a:p>
          <a:p>
            <a:pPr lvl="1">
              <a:buSzPct val="75000"/>
            </a:pPr>
            <a:endParaRPr lang="de-DE" dirty="0"/>
          </a:p>
          <a:p>
            <a:endParaRPr lang="pt-BR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A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3126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E06353F-7182-4676-9AA3-860F7A015B99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ungen zu Kapitel </a:t>
            </a:r>
            <a:r>
              <a:rPr lang="de-DE" dirty="0" smtClean="0"/>
              <a:t>III.A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analog zur Demo</a:t>
            </a:r>
          </a:p>
          <a:p>
            <a:endParaRPr lang="pt-BR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A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8308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D54841-07B3-41DD-B91A-3898ACFA234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Umgang mit mehreren Projekten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131840" y="2522907"/>
            <a:ext cx="2016000" cy="720000"/>
            <a:chOff x="4932040" y="4509405"/>
            <a:chExt cx="2052000" cy="863811"/>
          </a:xfrm>
        </p:grpSpPr>
        <p:sp>
          <p:nvSpPr>
            <p:cNvPr id="6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Projekt 1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1791705" y="4087049"/>
            <a:ext cx="2016000" cy="720000"/>
            <a:chOff x="4932040" y="4509405"/>
            <a:chExt cx="2052000" cy="863811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Projekt 2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4572000" y="4087049"/>
            <a:ext cx="2016000" cy="720000"/>
            <a:chOff x="4932040" y="4509405"/>
            <a:chExt cx="2052000" cy="863811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Projekt 3</a:t>
              </a:r>
            </a:p>
          </p:txBody>
        </p:sp>
      </p:grpSp>
      <p:cxnSp>
        <p:nvCxnSpPr>
          <p:cNvPr id="15" name="Gerade Verbindung mit Pfeil 14"/>
          <p:cNvCxnSpPr>
            <a:stCxn id="10" idx="0"/>
            <a:endCxn id="6" idx="2"/>
          </p:cNvCxnSpPr>
          <p:nvPr/>
        </p:nvCxnSpPr>
        <p:spPr bwMode="auto">
          <a:xfrm flipV="1">
            <a:off x="2799705" y="3242907"/>
            <a:ext cx="1340135" cy="84414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Gerade Verbindung mit Pfeil 16"/>
          <p:cNvCxnSpPr>
            <a:stCxn id="13" idx="0"/>
            <a:endCxn id="6" idx="2"/>
          </p:cNvCxnSpPr>
          <p:nvPr/>
        </p:nvCxnSpPr>
        <p:spPr bwMode="auto">
          <a:xfrm flipH="1" flipV="1">
            <a:off x="4139840" y="3242907"/>
            <a:ext cx="1440160" cy="84414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8" name="Textfeld 17"/>
          <p:cNvSpPr txBox="1"/>
          <p:nvPr/>
        </p:nvSpPr>
        <p:spPr>
          <a:xfrm>
            <a:off x="310421" y="1307094"/>
            <a:ext cx="7658837" cy="121147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Faktor-IPS kann mit beliebig vielen Projekten umgehen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de-DE" sz="1600" dirty="0" smtClean="0"/>
              <a:t>Ein Projekt kann andere Projekte referenzieren. Damit können alle Objekte aus den referenzierten Projekten verwendet werden.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Die Beziehung ist transitiv.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945611" y="5077519"/>
            <a:ext cx="3914421" cy="130380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In Projekt 2 sind alle Objekte aus</a:t>
            </a:r>
            <a:r>
              <a:rPr lang="de-DE" sz="1600" dirty="0"/>
              <a:t> </a:t>
            </a:r>
            <a:r>
              <a:rPr lang="de-DE" sz="1600" dirty="0" smtClean="0"/>
              <a:t>dem Projekt 2 selbst und alle Objekte aus Projekt 1 sichtbar. Objekte aus Projekt 3 sind nicht sichtbar.</a:t>
            </a:r>
            <a:r>
              <a:rPr lang="de-DE" sz="1600" dirty="0"/>
              <a:t/>
            </a:r>
            <a:br>
              <a:rPr lang="de-DE" sz="1600" dirty="0"/>
            </a:br>
            <a:endParaRPr lang="de-DE" sz="1600" dirty="0" smtClean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A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171582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B7D8EE2-9E75-45E0-975B-037DCEB373C7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liche Projektstruktur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239964" y="1747534"/>
            <a:ext cx="2016000" cy="720000"/>
            <a:chOff x="4932040" y="4509405"/>
            <a:chExt cx="2052000" cy="863811"/>
          </a:xfrm>
        </p:grpSpPr>
        <p:sp>
          <p:nvSpPr>
            <p:cNvPr id="6" name="Rectangle 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Basismodell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755688" y="3311676"/>
            <a:ext cx="2016000" cy="720000"/>
            <a:chOff x="4932040" y="4509405"/>
            <a:chExt cx="2052000" cy="863811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Unfallmodell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239964" y="3321015"/>
            <a:ext cx="2016000" cy="720000"/>
            <a:chOff x="4932040" y="4509405"/>
            <a:chExt cx="2052000" cy="863811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KfzModell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cxnSp>
        <p:nvCxnSpPr>
          <p:cNvPr id="15" name="Gerade Verbindung mit Pfeil 14"/>
          <p:cNvCxnSpPr>
            <a:stCxn id="10" idx="0"/>
            <a:endCxn id="6" idx="2"/>
          </p:cNvCxnSpPr>
          <p:nvPr/>
        </p:nvCxnSpPr>
        <p:spPr bwMode="auto">
          <a:xfrm flipV="1">
            <a:off x="1763688" y="2467534"/>
            <a:ext cx="2484276" cy="84414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Gerade Verbindung mit Pfeil 16"/>
          <p:cNvCxnSpPr>
            <a:stCxn id="13" idx="0"/>
            <a:endCxn id="6" idx="2"/>
          </p:cNvCxnSpPr>
          <p:nvPr/>
        </p:nvCxnSpPr>
        <p:spPr bwMode="auto">
          <a:xfrm flipV="1">
            <a:off x="4247964" y="2467534"/>
            <a:ext cx="0" cy="85348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21" name="Gruppieren 20"/>
          <p:cNvGrpSpPr/>
          <p:nvPr/>
        </p:nvGrpSpPr>
        <p:grpSpPr>
          <a:xfrm>
            <a:off x="5760244" y="3321015"/>
            <a:ext cx="2016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…</a:t>
              </a:r>
            </a:p>
          </p:txBody>
        </p:sp>
      </p:grpSp>
      <p:cxnSp>
        <p:nvCxnSpPr>
          <p:cNvPr id="24" name="Gerade Verbindung mit Pfeil 23"/>
          <p:cNvCxnSpPr>
            <a:stCxn id="23" idx="0"/>
            <a:endCxn id="6" idx="2"/>
          </p:cNvCxnSpPr>
          <p:nvPr/>
        </p:nvCxnSpPr>
        <p:spPr bwMode="auto">
          <a:xfrm flipH="1" flipV="1">
            <a:off x="4247964" y="2467534"/>
            <a:ext cx="2520280" cy="85348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25" name="Gruppieren 24"/>
          <p:cNvGrpSpPr/>
          <p:nvPr/>
        </p:nvGrpSpPr>
        <p:grpSpPr>
          <a:xfrm>
            <a:off x="755949" y="4735866"/>
            <a:ext cx="2016000" cy="720000"/>
            <a:chOff x="4932040" y="4509405"/>
            <a:chExt cx="2052000" cy="863811"/>
          </a:xfrm>
        </p:grpSpPr>
        <p:sp>
          <p:nvSpPr>
            <p:cNvPr id="26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27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Unfallprodukte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3239964" y="4735866"/>
            <a:ext cx="2016000" cy="720000"/>
            <a:chOff x="4932040" y="4509405"/>
            <a:chExt cx="2052000" cy="863811"/>
          </a:xfrm>
        </p:grpSpPr>
        <p:sp>
          <p:nvSpPr>
            <p:cNvPr id="29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30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KfzProdukte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5760244" y="4735866"/>
            <a:ext cx="2016000" cy="720000"/>
            <a:chOff x="4932040" y="4509405"/>
            <a:chExt cx="2052000" cy="863811"/>
          </a:xfrm>
        </p:grpSpPr>
        <p:sp>
          <p:nvSpPr>
            <p:cNvPr id="32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33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…</a:t>
              </a:r>
            </a:p>
          </p:txBody>
        </p:sp>
      </p:grpSp>
      <p:cxnSp>
        <p:nvCxnSpPr>
          <p:cNvPr id="35" name="Gerade Verbindung mit Pfeil 34"/>
          <p:cNvCxnSpPr>
            <a:stCxn id="27" idx="0"/>
            <a:endCxn id="9" idx="2"/>
          </p:cNvCxnSpPr>
          <p:nvPr/>
        </p:nvCxnSpPr>
        <p:spPr bwMode="auto">
          <a:xfrm flipH="1" flipV="1">
            <a:off x="1763688" y="4031676"/>
            <a:ext cx="261" cy="7041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Gerade Verbindung mit Pfeil 36"/>
          <p:cNvCxnSpPr>
            <a:stCxn id="30" idx="0"/>
            <a:endCxn id="12" idx="2"/>
          </p:cNvCxnSpPr>
          <p:nvPr/>
        </p:nvCxnSpPr>
        <p:spPr bwMode="auto">
          <a:xfrm flipV="1">
            <a:off x="4247964" y="4041015"/>
            <a:ext cx="0" cy="69485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9" name="Gerade Verbindung mit Pfeil 38"/>
          <p:cNvCxnSpPr>
            <a:stCxn id="33" idx="0"/>
            <a:endCxn id="22" idx="2"/>
          </p:cNvCxnSpPr>
          <p:nvPr/>
        </p:nvCxnSpPr>
        <p:spPr bwMode="auto">
          <a:xfrm flipV="1">
            <a:off x="6768244" y="4041015"/>
            <a:ext cx="0" cy="69485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A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70088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9</Words>
  <Application>Microsoft Office PowerPoint</Application>
  <PresentationFormat>Bildschirmpräsentation (4:3)</PresentationFormat>
  <Paragraphs>42</Paragraphs>
  <Slides>6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Master - ConVista General </vt:lpstr>
      <vt:lpstr>Agenda</vt:lpstr>
      <vt:lpstr>Inhalt - Modellierung &amp; Produktdefinition</vt:lpstr>
      <vt:lpstr>Projekt einrichten</vt:lpstr>
      <vt:lpstr>Übungen zu Kapitel III.A</vt:lpstr>
      <vt:lpstr>Umgang mit mehreren Projekten</vt:lpstr>
      <vt:lpstr>Übliche Projektstruktur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37</cp:revision>
  <cp:lastPrinted>2012-11-19T11:42:38Z</cp:lastPrinted>
  <dcterms:created xsi:type="dcterms:W3CDTF">2005-03-22T09:36:15Z</dcterms:created>
  <dcterms:modified xsi:type="dcterms:W3CDTF">2015-04-15T15:35:19Z</dcterms:modified>
  <cp:category>Master</cp:category>
  <cp:contentStatus>RELEASED</cp:contentStatus>
</cp:coreProperties>
</file>